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56" r:id="rId2"/>
    <p:sldId id="259" r:id="rId3"/>
    <p:sldId id="260" r:id="rId4"/>
    <p:sldId id="257" r:id="rId5"/>
    <p:sldId id="258" r:id="rId6"/>
    <p:sldId id="262" r:id="rId7"/>
    <p:sldId id="263" r:id="rId8"/>
  </p:sldIdLst>
  <p:sldSz cx="9144000" cy="6858000" type="screen4x3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79" autoAdjust="0"/>
    <p:restoredTop sz="94660"/>
  </p:normalViewPr>
  <p:slideViewPr>
    <p:cSldViewPr>
      <p:cViewPr varScale="1">
        <p:scale>
          <a:sx n="63" d="100"/>
          <a:sy n="63" d="100"/>
        </p:scale>
        <p:origin x="1329" y="3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EB82EE-7859-43C3-BD1F-7B4F0DAB0F46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D5DB85-51F6-4F8B-9C9B-239CB5AE9C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191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8396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01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34790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2856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7161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668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7290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9477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1889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9294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3143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212B79D-4040-409B-B3E8-019250A7CA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63058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55598A-3BAC-4446-A6F4-A5830ABD4FE3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271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7E340A-FFAD-4D4B-8972-7AD6B255DCC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79897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>
                <a:latin typeface="Aharoni" panose="02010803020104030203" pitchFamily="2" charset="-79"/>
                <a:cs typeface="Aharoni" panose="02010803020104030203" pitchFamily="2" charset="-79"/>
              </a:rPr>
              <a:t>Adidas Case Stud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latin typeface="Aharoni" panose="02010803020104030203" pitchFamily="2" charset="-79"/>
                <a:cs typeface="Aharoni" panose="02010803020104030203" pitchFamily="2" charset="-79"/>
              </a:rPr>
              <a:t>Tech Stack for the study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45EA043-D353-4A61-A50C-8700DA89543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91400" y="5715000"/>
            <a:ext cx="1447800" cy="840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7083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D9D1467-7E16-42A7-860E-10911A34F65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153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0E327AB-350E-4377-AB21-7D1F82F01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Basic Architecture For Data Engineer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8961E7D-2015-418C-894B-8BB90CD9C6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42999" y="2438400"/>
            <a:ext cx="7162801" cy="264795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8337912-5A9E-4DFC-A1A3-AC1C69FEAD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91400" y="5715000"/>
            <a:ext cx="1447800" cy="840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59463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2AAF2FF-BBF2-4F3B-9137-CB9490D1B0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9706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F34DB76-0130-4CC9-BDEA-21CE43F5D5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ETL Archite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B3AB116-FB94-4B74-AA20-F0706B3CE1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6799" y="2286000"/>
            <a:ext cx="7162801" cy="302895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2FBDFC8-747D-45D9-9571-43FD259FEB9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91400" y="5715000"/>
            <a:ext cx="1447800" cy="840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4019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43C426B-7E3D-43AC-86F7-47A8EAF3B1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358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Aharoni" panose="02010803020104030203" pitchFamily="2" charset="-79"/>
                <a:cs typeface="Aharoni" panose="02010803020104030203" pitchFamily="2" charset="-79"/>
              </a:rPr>
              <a:t>Tech Stack for the stud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67C2C92-C803-476A-9215-B5062BC78BA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0600" y="2590800"/>
            <a:ext cx="7239000" cy="269389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714D171-661D-4431-BE94-6B204E544B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91400" y="5715000"/>
            <a:ext cx="1447800" cy="840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7484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28F5C19-2E6F-4EFE-A882-D718A4A24AA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4748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7138EF-0218-4BB7-8DC3-3EBA910C4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CI/CD Architectu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4C20C0B-0CFA-496C-B32D-079F2987ED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19200" y="2133600"/>
            <a:ext cx="7010400" cy="265818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6B2F77B-0E40-409A-BE14-E682C1CA536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91400" y="5715000"/>
            <a:ext cx="1447800" cy="840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0722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7E340A-FFAD-4D4B-8972-7AD6B255DC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4417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7E340A-FFAD-4D4B-8972-7AD6B255D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28601"/>
            <a:ext cx="7696200" cy="990600"/>
          </a:xfrm>
        </p:spPr>
        <p:txBody>
          <a:bodyPr vert="horz"/>
          <a:lstStyle/>
          <a:p>
            <a:r>
              <a:rPr lang="en-US" dirty="0">
                <a:latin typeface="Aharoni" panose="02010803020104030203" pitchFamily="2" charset="-79"/>
                <a:cs typeface="Aharoni" panose="02010803020104030203" pitchFamily="2" charset="-79"/>
              </a:rPr>
              <a:t>THE SUGGESTED TECH STACK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1447800"/>
            <a:ext cx="6477000" cy="4800600"/>
          </a:xfrm>
        </p:spPr>
        <p:txBody>
          <a:bodyPr/>
          <a:lstStyle/>
          <a:p>
            <a:pPr marL="971550" lvl="1" indent="-514350" algn="l">
              <a:buFont typeface="+mj-lt"/>
              <a:buAutoNum type="arabicPeriod"/>
            </a:pPr>
            <a:r>
              <a:rPr lang="en-US" b="1" dirty="0">
                <a:solidFill>
                  <a:schemeClr val="tx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Microsoft Azure</a:t>
            </a:r>
            <a:r>
              <a:rPr lang="en-US" dirty="0">
                <a:solidFill>
                  <a:schemeClr val="tx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: For DE and DS</a:t>
            </a:r>
          </a:p>
          <a:p>
            <a:pPr marL="1428750" lvl="2" indent="-514350" algn="l">
              <a:buFont typeface="+mj-lt"/>
              <a:buAutoNum type="arabicPeriod"/>
            </a:pPr>
            <a:r>
              <a:rPr lang="en-US" sz="1800" dirty="0">
                <a:solidFill>
                  <a:schemeClr val="tx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Azure Data Factory</a:t>
            </a:r>
          </a:p>
          <a:p>
            <a:pPr marL="1428750" lvl="2" indent="-514350" algn="l">
              <a:buFont typeface="+mj-lt"/>
              <a:buAutoNum type="arabicPeriod"/>
            </a:pPr>
            <a:r>
              <a:rPr lang="en-US" sz="1800" dirty="0" err="1">
                <a:solidFill>
                  <a:schemeClr val="tx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DataBricks</a:t>
            </a:r>
            <a:endParaRPr lang="en-US" sz="1800" dirty="0">
              <a:solidFill>
                <a:schemeClr val="tx1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marL="1428750" lvl="2" indent="-514350" algn="l">
              <a:buFont typeface="+mj-lt"/>
              <a:buAutoNum type="arabicPeriod"/>
            </a:pPr>
            <a:r>
              <a:rPr lang="en-US" sz="1800" dirty="0">
                <a:solidFill>
                  <a:schemeClr val="tx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ADLS- Gen2</a:t>
            </a:r>
          </a:p>
          <a:p>
            <a:pPr marL="971550" lvl="1" indent="-514350" algn="l">
              <a:buAutoNum type="arabicPeriod" startAt="2"/>
            </a:pPr>
            <a:r>
              <a:rPr lang="en-US" b="1" dirty="0">
                <a:solidFill>
                  <a:schemeClr val="tx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Git</a:t>
            </a:r>
            <a:r>
              <a:rPr lang="en-US" dirty="0">
                <a:solidFill>
                  <a:schemeClr val="tx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:  For </a:t>
            </a:r>
            <a:r>
              <a:rPr lang="en-US" dirty="0" err="1">
                <a:solidFill>
                  <a:schemeClr val="tx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Vesion</a:t>
            </a:r>
            <a:r>
              <a:rPr lang="en-US" dirty="0">
                <a:solidFill>
                  <a:schemeClr val="tx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Control </a:t>
            </a:r>
          </a:p>
          <a:p>
            <a:pPr marL="971550" lvl="1" indent="-514350" algn="l">
              <a:buAutoNum type="arabicPeriod" startAt="2"/>
            </a:pPr>
            <a:r>
              <a:rPr lang="en-US" b="1" dirty="0" err="1">
                <a:solidFill>
                  <a:schemeClr val="tx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CircleCI</a:t>
            </a:r>
            <a:r>
              <a:rPr lang="en-US" dirty="0">
                <a:solidFill>
                  <a:schemeClr val="tx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: For CI/CD</a:t>
            </a:r>
          </a:p>
          <a:p>
            <a:pPr marL="971550" lvl="1" indent="-514350" algn="l">
              <a:buAutoNum type="arabicPeriod" startAt="2"/>
            </a:pPr>
            <a:r>
              <a:rPr lang="en-US" b="1" dirty="0">
                <a:solidFill>
                  <a:schemeClr val="tx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Docker</a:t>
            </a:r>
            <a:r>
              <a:rPr lang="en-US" dirty="0">
                <a:solidFill>
                  <a:schemeClr val="tx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: For Containerization</a:t>
            </a:r>
          </a:p>
          <a:p>
            <a:pPr marL="971550" lvl="1" indent="-514350" algn="l">
              <a:buAutoNum type="arabicPeriod" startAt="2"/>
            </a:pPr>
            <a:r>
              <a:rPr lang="en-US" b="1" dirty="0">
                <a:solidFill>
                  <a:schemeClr val="tx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Spark</a:t>
            </a:r>
          </a:p>
          <a:p>
            <a:pPr marL="971550" lvl="1" indent="-514350" algn="l">
              <a:buAutoNum type="arabicPeriod" startAt="2"/>
            </a:pPr>
            <a:r>
              <a:rPr lang="en-US" b="1" dirty="0" err="1">
                <a:solidFill>
                  <a:schemeClr val="tx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Pyspark</a:t>
            </a:r>
            <a:r>
              <a:rPr lang="en-US" b="1" dirty="0">
                <a:solidFill>
                  <a:schemeClr val="tx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and Python</a:t>
            </a:r>
          </a:p>
          <a:p>
            <a:pPr marL="1428750" lvl="2" indent="-514350" algn="l">
              <a:buFont typeface="+mj-lt"/>
              <a:buAutoNum type="arabicPeriod"/>
            </a:pPr>
            <a:endParaRPr lang="en-US" dirty="0">
              <a:solidFill>
                <a:schemeClr val="tx1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  <a:p>
            <a:pPr marL="1428750" lvl="2" indent="-514350" algn="l">
              <a:buFont typeface="+mj-lt"/>
              <a:buAutoNum type="arabicPeriod"/>
            </a:pPr>
            <a:endParaRPr lang="en-US" dirty="0">
              <a:solidFill>
                <a:schemeClr val="tx1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  <a:p>
            <a:pPr marL="971550" lvl="1" indent="-514350" algn="l">
              <a:buFont typeface="+mj-lt"/>
              <a:buAutoNum type="arabicPeriod"/>
            </a:pPr>
            <a:endParaRPr lang="en-US" dirty="0">
              <a:solidFill>
                <a:schemeClr val="tx1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3FD762A-5166-4B5E-87CB-12D6FE1FC8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91400" y="5715000"/>
            <a:ext cx="1447800" cy="840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7687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7E340A-FFAD-4D4B-8972-7AD6B255DC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9828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7E340A-FFAD-4D4B-8972-7AD6B255D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>
                <a:latin typeface="Aharoni" panose="02010803020104030203" pitchFamily="2" charset="-79"/>
                <a:cs typeface="Aharoni" panose="02010803020104030203" pitchFamily="2" charset="-79"/>
              </a:rPr>
              <a:t>Please, ask your question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latin typeface="Aharoni" panose="02010803020104030203" pitchFamily="2" charset="-79"/>
                <a:cs typeface="Aharoni" panose="02010803020104030203" pitchFamily="2" charset="-79"/>
              </a:rPr>
              <a:t>Thank you.</a:t>
            </a:r>
          </a:p>
          <a:p>
            <a:r>
              <a:rPr lang="en-US" dirty="0">
                <a:latin typeface="Aharoni" panose="02010803020104030203" pitchFamily="2" charset="-79"/>
                <a:cs typeface="Aharoni" panose="02010803020104030203" pitchFamily="2" charset="-79"/>
              </a:rPr>
              <a:t>Ashish Verma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DCEEF99-3400-40BA-84E0-3078B5BAD4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91400" y="5715000"/>
            <a:ext cx="1447800" cy="840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4544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8</TotalTime>
  <Words>71</Words>
  <Application>Microsoft Office PowerPoint</Application>
  <PresentationFormat>On-screen Show (4:3)</PresentationFormat>
  <Paragraphs>20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haroni</vt:lpstr>
      <vt:lpstr>Arial</vt:lpstr>
      <vt:lpstr>Calibri</vt:lpstr>
      <vt:lpstr>Office Theme</vt:lpstr>
      <vt:lpstr>think-cell Slide</vt:lpstr>
      <vt:lpstr>Adidas Case Study</vt:lpstr>
      <vt:lpstr>Basic Architecture For Data Engineering</vt:lpstr>
      <vt:lpstr>ETL Architecture</vt:lpstr>
      <vt:lpstr>Tech Stack for the study</vt:lpstr>
      <vt:lpstr>CI/CD Architecture</vt:lpstr>
      <vt:lpstr>THE SUGGESTED TECH STACK</vt:lpstr>
      <vt:lpstr>Please, ask your ques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IDAS CASE STUDY</dc:title>
  <dc:creator>Ashish Verma-GGN</dc:creator>
  <cp:lastModifiedBy>Ashish Verma-GGN</cp:lastModifiedBy>
  <cp:revision>7</cp:revision>
  <dcterms:created xsi:type="dcterms:W3CDTF">2021-12-06T02:39:28Z</dcterms:created>
  <dcterms:modified xsi:type="dcterms:W3CDTF">2021-12-06T03:37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05e5817-eb54-4d3c-a869-7efe45e55606_Enabled">
    <vt:lpwstr>true</vt:lpwstr>
  </property>
  <property fmtid="{D5CDD505-2E9C-101B-9397-08002B2CF9AE}" pid="3" name="MSIP_Label_205e5817-eb54-4d3c-a869-7efe45e55606_SetDate">
    <vt:lpwstr>2021-12-06T02:39:28Z</vt:lpwstr>
  </property>
  <property fmtid="{D5CDD505-2E9C-101B-9397-08002B2CF9AE}" pid="4" name="MSIP_Label_205e5817-eb54-4d3c-a869-7efe45e55606_Method">
    <vt:lpwstr>Standard</vt:lpwstr>
  </property>
  <property fmtid="{D5CDD505-2E9C-101B-9397-08002B2CF9AE}" pid="5" name="MSIP_Label_205e5817-eb54-4d3c-a869-7efe45e55606_Name">
    <vt:lpwstr>205e5817-eb54-4d3c-a869-7efe45e55606</vt:lpwstr>
  </property>
  <property fmtid="{D5CDD505-2E9C-101B-9397-08002B2CF9AE}" pid="6" name="MSIP_Label_205e5817-eb54-4d3c-a869-7efe45e55606_SiteId">
    <vt:lpwstr>cc8936bc-9382-4fff-87cb-6f55999549e7</vt:lpwstr>
  </property>
  <property fmtid="{D5CDD505-2E9C-101B-9397-08002B2CF9AE}" pid="7" name="MSIP_Label_205e5817-eb54-4d3c-a869-7efe45e55606_ActionId">
    <vt:lpwstr>c19b84ea-0e98-4514-9ab2-479493638448</vt:lpwstr>
  </property>
  <property fmtid="{D5CDD505-2E9C-101B-9397-08002B2CF9AE}" pid="8" name="MSIP_Label_205e5817-eb54-4d3c-a869-7efe45e55606_ContentBits">
    <vt:lpwstr>0</vt:lpwstr>
  </property>
</Properties>
</file>